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18"/>
  </p:notesMasterIdLst>
  <p:sldIdLst>
    <p:sldId id="256" r:id="rId6"/>
    <p:sldId id="260" r:id="rId7"/>
    <p:sldId id="823" r:id="rId8"/>
    <p:sldId id="825" r:id="rId9"/>
    <p:sldId id="826" r:id="rId10"/>
    <p:sldId id="827" r:id="rId11"/>
    <p:sldId id="828" r:id="rId12"/>
    <p:sldId id="829" r:id="rId13"/>
    <p:sldId id="830" r:id="rId14"/>
    <p:sldId id="831" r:id="rId15"/>
    <p:sldId id="832" r:id="rId16"/>
    <p:sldId id="833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87" autoAdjust="0"/>
    <p:restoredTop sz="90599" autoAdjust="0"/>
  </p:normalViewPr>
  <p:slideViewPr>
    <p:cSldViewPr snapToGrid="0">
      <p:cViewPr varScale="1">
        <p:scale>
          <a:sx n="116" d="100"/>
          <a:sy n="116" d="100"/>
        </p:scale>
        <p:origin x="712" y="184"/>
      </p:cViewPr>
      <p:guideLst>
        <p:guide orient="horz" pos="100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07.07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3627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521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355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9455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1925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9377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4584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9426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98600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7501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332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7CD2510-B24F-E08D-439F-08B03EA5D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astertitelformat bearbeiten</a:t>
            </a:r>
            <a:br>
              <a:rPr lang="de-DE" dirty="0"/>
            </a:br>
            <a:r>
              <a:rPr lang="de-DE" dirty="0"/>
              <a:t>Mastertitelformat bearbeiten</a:t>
            </a: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07.07.24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8494" y="3429000"/>
            <a:ext cx="6007559" cy="945542"/>
          </a:xfrm>
        </p:spPr>
        <p:txBody>
          <a:bodyPr>
            <a:normAutofit lnSpcReduction="10000"/>
          </a:bodyPr>
          <a:lstStyle/>
          <a:p>
            <a:pPr algn="just"/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nciples of Autonomy and Decision Making</a:t>
            </a:r>
          </a:p>
          <a:p>
            <a:pPr algn="just"/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Datumsplatzhalter 9">
            <a:extLst>
              <a:ext uri="{FF2B5EF4-FFF2-40B4-BE49-F238E27FC236}">
                <a16:creationId xmlns:a16="http://schemas.microsoft.com/office/drawing/2014/main" id="{324228CE-4DD2-8405-EB58-E8F78B4D30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59074" y="6205422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ate: 08.07.2024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029825" y="5641114"/>
            <a:ext cx="2743201" cy="929433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rgbClr val="0059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d Shiful Isla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silon Decay in Our Q-Learning Algorithm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lementing Epsilon Decay in Q-Learn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B7F549D-7CEC-237B-BF8B-E926256B8DFB}"/>
              </a:ext>
            </a:extLst>
          </p:cNvPr>
          <p:cNvSpPr txBox="1"/>
          <p:nvPr/>
        </p:nvSpPr>
        <p:spPr>
          <a:xfrm>
            <a:off x="838200" y="5233994"/>
            <a:ext cx="641521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 Poi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silon used in action selection (explore vs exploi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ayed after each complete episo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sures gradual transition from exploration to exploitation</a:t>
            </a:r>
          </a:p>
          <a:p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7D5BFC67-95A7-3659-B4B0-92CFE17352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689" y="1424175"/>
            <a:ext cx="6689270" cy="400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044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Q - Table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337E16E0-15C6-7DFE-6721-16C77ACE2CC3}"/>
              </a:ext>
            </a:extLst>
          </p:cNvPr>
          <p:cNvSpPr txBox="1">
            <a:spLocks/>
          </p:cNvSpPr>
          <p:nvPr/>
        </p:nvSpPr>
        <p:spPr>
          <a:xfrm>
            <a:off x="838200" y="472167"/>
            <a:ext cx="10134600" cy="5048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kern="1200">
                <a:solidFill>
                  <a:srgbClr val="005A96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 1000 episodes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137758-F3EF-DBA8-9545-DE4EEBD1AE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4152" y="2020353"/>
            <a:ext cx="10839709" cy="3688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1860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Q – Table with Optimal Path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337E16E0-15C6-7DFE-6721-16C77ACE2CC3}"/>
              </a:ext>
            </a:extLst>
          </p:cNvPr>
          <p:cNvSpPr txBox="1">
            <a:spLocks/>
          </p:cNvSpPr>
          <p:nvPr/>
        </p:nvSpPr>
        <p:spPr>
          <a:xfrm>
            <a:off x="838200" y="472167"/>
            <a:ext cx="10134600" cy="5048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kern="1200">
                <a:solidFill>
                  <a:srgbClr val="005A96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 1000 episodes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137758-F3EF-DBA8-9545-DE4EEBD1AE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633" y="1788153"/>
            <a:ext cx="5840733" cy="426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943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/>
              <a:t>A 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</a:t>
            </a:r>
            <a:r>
              <a:rPr lang="en-GB" dirty="0"/>
              <a:t> Gymnasium Environment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vironment Overview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CC3EB7-0A70-6711-7E89-F45C503594B2}"/>
              </a:ext>
            </a:extLst>
          </p:cNvPr>
          <p:cNvSpPr txBox="1"/>
          <p:nvPr/>
        </p:nvSpPr>
        <p:spPr>
          <a:xfrm>
            <a:off x="958467" y="2357610"/>
            <a:ext cx="5354897" cy="2842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x7 grid-based environment </a:t>
            </a: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n character: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os, starting at position (1, 1) </a:t>
            </a: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oal: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ch the Infinity Gauntlet at position (5, 5) </a:t>
            </a: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bstacles: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engers (hell-states) at positions [(3, 2), (5, 4), (2, 5)]</a:t>
            </a: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bjective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Guide agent efficiently to the goal while avoiding penalties</a:t>
            </a:r>
            <a:endParaRPr lang="en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314F77-9ECE-385E-C9B8-95EF430881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364" y="1470697"/>
            <a:ext cx="5237761" cy="4419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86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8031" y="801707"/>
            <a:ext cx="10134600" cy="504825"/>
          </a:xfrm>
        </p:spPr>
        <p:txBody>
          <a:bodyPr>
            <a:normAutofit/>
          </a:bodyPr>
          <a:lstStyle/>
          <a:p>
            <a:r>
              <a:rPr lang="en-GB" sz="3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vironment Dynamics</a:t>
            </a:r>
            <a:endParaRPr lang="de-DE" sz="3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426540-6C5B-2289-61BE-3775B5141133}"/>
              </a:ext>
            </a:extLst>
          </p:cNvPr>
          <p:cNvSpPr txBox="1"/>
          <p:nvPr/>
        </p:nvSpPr>
        <p:spPr>
          <a:xfrm>
            <a:off x="938954" y="2767280"/>
            <a:ext cx="5463355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ions: Up, Down, Left, Right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wards: Reaching Gauntlet: +100 (game ends)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countering Avenger: -50 (game ends)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utral Moves: 0 for other moves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e space: 2D coordinates on the grid</a:t>
            </a:r>
            <a:endParaRPr lang="en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 descr="A screenshot of a game&#10;&#10;Description automatically generated">
            <a:extLst>
              <a:ext uri="{FF2B5EF4-FFF2-40B4-BE49-F238E27FC236}">
                <a16:creationId xmlns:a16="http://schemas.microsoft.com/office/drawing/2014/main" id="{FE9608CC-0141-5C94-DC6F-9439009474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186" y="1728972"/>
            <a:ext cx="5016147" cy="4232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516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ccessful Aspects of Our Q-learning Implementation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eriments - What Worked Well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D6E6B6-E908-6412-A373-4C22AF3A20D4}"/>
              </a:ext>
            </a:extLst>
          </p:cNvPr>
          <p:cNvSpPr txBox="1"/>
          <p:nvPr/>
        </p:nvSpPr>
        <p:spPr>
          <a:xfrm>
            <a:off x="838200" y="1788770"/>
            <a:ext cx="83067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Q-learning Algorithm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ccessfully implemented the Q-learning algorith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gent learned to navigate the grid and find the optimal path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 time, the agent improved its decision-making.</a:t>
            </a:r>
          </a:p>
          <a:p>
            <a:pPr lvl="1"/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Exploration-Exploitation Balanc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d an epsilon-greedy strate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arly in training: More random actions (explor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er in training: More informed actions (exploit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balance helped the agent discover the best path</a:t>
            </a:r>
          </a:p>
          <a:p>
            <a:pPr lvl="1"/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167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ccessful Aspects of Our Q-learning Implementation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eriments - What Worked Well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3B1116-9EF5-8272-4E58-5434767A4609}"/>
              </a:ext>
            </a:extLst>
          </p:cNvPr>
          <p:cNvSpPr txBox="1"/>
          <p:nvPr/>
        </p:nvSpPr>
        <p:spPr>
          <a:xfrm>
            <a:off x="838200" y="1788770"/>
            <a:ext cx="6455613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Visual Feedback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plemented real-time rendering of the environ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lowed us to observe the agent's behavior direct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lped in understanding the learning process visually</a:t>
            </a:r>
          </a:p>
          <a:p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Convergence Towards Optimal Policy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training progressed, the agent learned to avoid Aveng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gent increasingly moved towards the Infinity Gauntl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Q-values for optimal actions gradually increased</a:t>
            </a:r>
          </a:p>
          <a:p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355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rdles in Our Q-learning Journey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eriments - Challenges Faced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512B4A-B428-1204-0CBA-44CEC2CBAF2A}"/>
              </a:ext>
            </a:extLst>
          </p:cNvPr>
          <p:cNvSpPr txBox="1"/>
          <p:nvPr/>
        </p:nvSpPr>
        <p:spPr>
          <a:xfrm>
            <a:off x="838200" y="1788770"/>
            <a:ext cx="7937750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mited Training Tim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 only </a:t>
            </a:r>
            <a:r>
              <a:rPr lang="en-GB">
                <a:latin typeface="Times New Roman" panose="02020603050405020304" pitchFamily="18" charset="0"/>
                <a:cs typeface="Times New Roman" panose="02020603050405020304" pitchFamily="18" charset="0"/>
              </a:rPr>
              <a:t>ran few 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isodes of trai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y it's a challenge: Q-learning often needs many more episo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: The agent might not have fully learned the optimal polic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ution: Increase the number of training episodes significantly</a:t>
            </a:r>
          </a:p>
          <a:p>
            <a:pPr lvl="1"/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Sparse Reward Structur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wards given only at the end of an episode (+100 or -50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y it's a challenge: Makes it hard for the agent to learn from most mov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: Slower learning, especially in the begin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tential solution: Add small rewards for moving closer to the goal</a:t>
            </a:r>
          </a:p>
          <a:p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43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rdles in Our Q-learning Journey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eriments - Challenges Faced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CFC705-2C8D-5680-4C52-731242919F0A}"/>
              </a:ext>
            </a:extLst>
          </p:cNvPr>
          <p:cNvSpPr txBox="1"/>
          <p:nvPr/>
        </p:nvSpPr>
        <p:spPr>
          <a:xfrm>
            <a:off x="838200" y="1788770"/>
            <a:ext cx="741228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Risk of Local Optima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gent might find a safe but non-optimal pat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y it's a challenge: Could get stuck avoiding all risky mov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: Might not find the truly best path to the go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ution: Careful balancing of exploration and exploitation</a:t>
            </a:r>
          </a:p>
          <a:p>
            <a:pPr lvl="1"/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Hyperparameter Tuni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rrent settings (learning rate, epsilon decay) might not be optim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y it's a challenge: Different settings can greatly affect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: The agent might learn slower or get stuck more easi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lution: Experiment with different hyperparameter values</a:t>
            </a:r>
          </a:p>
          <a:p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161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silon Decay: Balancing Exploration and Exploitation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derstanding Epsilon Decay Strategy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544D42-78A0-2E7D-F2FA-26CBBAE99CCF}"/>
              </a:ext>
            </a:extLst>
          </p:cNvPr>
          <p:cNvSpPr txBox="1"/>
          <p:nvPr/>
        </p:nvSpPr>
        <p:spPr>
          <a:xfrm>
            <a:off x="838200" y="1663868"/>
            <a:ext cx="505779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silon (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): 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bability of choosing a random action </a:t>
            </a:r>
          </a:p>
          <a:p>
            <a:pPr algn="just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nge: 0 ≤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 ≤ 1 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: 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exploration (random actions) </a:t>
            </a:r>
          </a:p>
          <a:p>
            <a:pPr algn="just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w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: 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exploitation (best known actions)</a:t>
            </a:r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46C292-7034-7E51-E6EB-17111B89C0D3}"/>
              </a:ext>
            </a:extLst>
          </p:cNvPr>
          <p:cNvSpPr txBox="1"/>
          <p:nvPr/>
        </p:nvSpPr>
        <p:spPr>
          <a:xfrm>
            <a:off x="838200" y="4407735"/>
            <a:ext cx="383310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Purpose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rt with full exploratio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adually shift to exploitatio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intain minimum exploration</a:t>
            </a:r>
          </a:p>
          <a:p>
            <a:pPr algn="just"/>
            <a:endParaRPr lang="en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8C90DE04-777A-0CED-6D1A-B1EE4F6626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048971"/>
            <a:ext cx="7772400" cy="105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95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775773"/>
            <a:ext cx="10132340" cy="709391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Mechanics of Epsilon Decay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 Epsilon Decay Works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CB3EC1-8B67-34F2-D63F-0B6B67921650}"/>
              </a:ext>
            </a:extLst>
          </p:cNvPr>
          <p:cNvSpPr txBox="1"/>
          <p:nvPr/>
        </p:nvSpPr>
        <p:spPr>
          <a:xfrm>
            <a:off x="838200" y="1505354"/>
            <a:ext cx="417858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GB" dirty="0"/>
              <a:t>Initial Stag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l-GR" dirty="0"/>
              <a:t>ε = 1.0 (100% </a:t>
            </a:r>
            <a:r>
              <a:rPr lang="en-GB" dirty="0"/>
              <a:t>random action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Agent explores environment freely</a:t>
            </a:r>
          </a:p>
          <a:p>
            <a:endParaRPr lang="en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9B63A7-1BC9-BF22-46BD-902710A416C0}"/>
              </a:ext>
            </a:extLst>
          </p:cNvPr>
          <p:cNvSpPr txBox="1"/>
          <p:nvPr/>
        </p:nvSpPr>
        <p:spPr>
          <a:xfrm>
            <a:off x="838200" y="2602782"/>
            <a:ext cx="45011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2. Decay Proces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After each episode: </a:t>
            </a:r>
            <a:r>
              <a:rPr lang="el-GR" dirty="0"/>
              <a:t>ε = ε * </a:t>
            </a:r>
            <a:r>
              <a:rPr lang="en-GB" dirty="0"/>
              <a:t>decay_r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Decay formula in code:</a:t>
            </a:r>
          </a:p>
          <a:p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75CB58-2899-3B89-919F-19A97251E76A}"/>
              </a:ext>
            </a:extLst>
          </p:cNvPr>
          <p:cNvSpPr txBox="1"/>
          <p:nvPr/>
        </p:nvSpPr>
        <p:spPr>
          <a:xfrm>
            <a:off x="838200" y="4214507"/>
            <a:ext cx="53615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3. Long-Term Behavio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l-GR" dirty="0"/>
              <a:t>ε </a:t>
            </a:r>
            <a:r>
              <a:rPr lang="en-GB" dirty="0"/>
              <a:t>approaches minimum value (0.1 in our cas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Mostly exploitation with occasional exploration</a:t>
            </a:r>
          </a:p>
          <a:p>
            <a:endParaRPr lang="en-DE" dirty="0"/>
          </a:p>
        </p:txBody>
      </p:sp>
      <p:pic>
        <p:nvPicPr>
          <p:cNvPr id="11" name="Picture 10" descr="A graph with a line&#10;&#10;Description automatically generated">
            <a:extLst>
              <a:ext uri="{FF2B5EF4-FFF2-40B4-BE49-F238E27FC236}">
                <a16:creationId xmlns:a16="http://schemas.microsoft.com/office/drawing/2014/main" id="{4C4171C4-3C1E-B280-3FD4-C610BD9D55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791" y="2086195"/>
            <a:ext cx="5361596" cy="343383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7551F34-0C23-7C35-8724-DB60D3188C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529" y="3501943"/>
            <a:ext cx="4916223" cy="505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102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77</TotalTime>
  <Words>691</Words>
  <Application>Microsoft Macintosh PowerPoint</Application>
  <PresentationFormat>Widescreen</PresentationFormat>
  <Paragraphs>120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kzidenz-Grotesk Next Regular</vt:lpstr>
      <vt:lpstr>Arial</vt:lpstr>
      <vt:lpstr>Calibri</vt:lpstr>
      <vt:lpstr>Times New Roman</vt:lpstr>
      <vt:lpstr>TSTAR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PowerPoint Presentation</vt:lpstr>
      <vt:lpstr>A Custom Gymnasium Environment</vt:lpstr>
      <vt:lpstr>PowerPoint Presentation</vt:lpstr>
      <vt:lpstr>Successful Aspects of Our Q-learning Implementation</vt:lpstr>
      <vt:lpstr>Successful Aspects of Our Q-learning Implementation</vt:lpstr>
      <vt:lpstr>Hurdles in Our Q-learning Journey</vt:lpstr>
      <vt:lpstr>Hurdles in Our Q-learning Journey</vt:lpstr>
      <vt:lpstr>Epsilon Decay: Balancing Exploration and Exploitation</vt:lpstr>
      <vt:lpstr>The Mechanics of Epsilon Decay</vt:lpstr>
      <vt:lpstr>Epsilon Decay in Our Q-Learning Algorithm</vt:lpstr>
      <vt:lpstr>Q - Table</vt:lpstr>
      <vt:lpstr>Q – Table with Optimal Path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mdi6169</cp:lastModifiedBy>
  <cp:revision>231</cp:revision>
  <dcterms:created xsi:type="dcterms:W3CDTF">2024-01-11T16:28:37Z</dcterms:created>
  <dcterms:modified xsi:type="dcterms:W3CDTF">2024-07-08T00:25:57Z</dcterms:modified>
</cp:coreProperties>
</file>